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5" r:id="rId3"/>
    <p:sldId id="297" r:id="rId4"/>
    <p:sldId id="298" r:id="rId5"/>
    <p:sldId id="291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7670" autoAdjust="0"/>
  </p:normalViewPr>
  <p:slideViewPr>
    <p:cSldViewPr>
      <p:cViewPr varScale="1">
        <p:scale>
          <a:sx n="66" d="100"/>
          <a:sy n="66" d="100"/>
        </p:scale>
        <p:origin x="84" y="13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/>
              <a:t>Asıl alt başlık stil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2.12.2024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33431" y="2489339"/>
            <a:ext cx="89573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. TOPLANTISI       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9 OCAK 2024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ERŞEMBE</a:t>
            </a: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123555"/>
              </p:ext>
            </p:extLst>
          </p:nvPr>
        </p:nvGraphicFramePr>
        <p:xfrm>
          <a:off x="51891" y="836712"/>
          <a:ext cx="9092108" cy="5190675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3787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9815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2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100" b="1" u="none" strike="noStrike" kern="1200" baseline="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3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341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Tut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z Kaynak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ış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59930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21209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ib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15065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4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25006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Parasal</a:t>
                      </a:r>
                      <a:r>
                        <a:rPr lang="tr-TR" sz="1100" b="1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çekleşme</a:t>
                      </a:r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nceki Yıllar Harcamal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2024 Yılı Harcamas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4146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2601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hale Aşamasındaki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arım Kal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vam Ed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it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1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cı Kuruluş Dönem Raporu</a:t>
            </a:r>
          </a:p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5 YILI 1. TOPLANTISI)</a:t>
            </a:r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98594"/>
              </p:ext>
            </p:extLst>
          </p:nvPr>
        </p:nvGraphicFramePr>
        <p:xfrm>
          <a:off x="78932" y="6093277"/>
          <a:ext cx="8948301" cy="3559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4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98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 </a:t>
                      </a:r>
                      <a:r>
                        <a:rPr lang="tr-TR" sz="1000" b="1" i="0" u="none" strike="noStrike" baseline="0" dirty="0">
                          <a:solidFill>
                            <a:srgbClr val="00B0F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ları için; Tarım, Madencilik, İmalat, Ulaştırma, Turizm, Konut,  Eğitim, Sağlık, Diğer Kamu Hizmetleri 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rgbClr val="00B0F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 Projeleri İzleme Raporu</a:t>
            </a:r>
          </a:p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5 YILI 1. TOPLANTISI )</a:t>
            </a: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94831"/>
              </p:ext>
            </p:extLst>
          </p:nvPr>
        </p:nvGraphicFramePr>
        <p:xfrm>
          <a:off x="107500" y="980728"/>
          <a:ext cx="8928995" cy="5454688"/>
        </p:xfrm>
        <a:graphic>
          <a:graphicData uri="http://schemas.openxmlformats.org/drawingml/2006/table">
            <a:tbl>
              <a:tblPr/>
              <a:tblGrid>
                <a:gridCol w="669400">
                  <a:extLst>
                    <a:ext uri="{9D8B030D-6E8A-4147-A177-3AD203B41FA5}">
                      <a16:colId xmlns:a16="http://schemas.microsoft.com/office/drawing/2014/main" val="3919883195"/>
                    </a:ext>
                  </a:extLst>
                </a:gridCol>
                <a:gridCol w="1799699">
                  <a:extLst>
                    <a:ext uri="{9D8B030D-6E8A-4147-A177-3AD203B41FA5}">
                      <a16:colId xmlns:a16="http://schemas.microsoft.com/office/drawing/2014/main" val="1179629219"/>
                    </a:ext>
                  </a:extLst>
                </a:gridCol>
                <a:gridCol w="685860">
                  <a:extLst>
                    <a:ext uri="{9D8B030D-6E8A-4147-A177-3AD203B41FA5}">
                      <a16:colId xmlns:a16="http://schemas.microsoft.com/office/drawing/2014/main" val="443924026"/>
                    </a:ext>
                  </a:extLst>
                </a:gridCol>
                <a:gridCol w="806573">
                  <a:extLst>
                    <a:ext uri="{9D8B030D-6E8A-4147-A177-3AD203B41FA5}">
                      <a16:colId xmlns:a16="http://schemas.microsoft.com/office/drawing/2014/main" val="1995520928"/>
                    </a:ext>
                  </a:extLst>
                </a:gridCol>
                <a:gridCol w="819375">
                  <a:extLst>
                    <a:ext uri="{9D8B030D-6E8A-4147-A177-3AD203B41FA5}">
                      <a16:colId xmlns:a16="http://schemas.microsoft.com/office/drawing/2014/main" val="3450176581"/>
                    </a:ext>
                  </a:extLst>
                </a:gridCol>
                <a:gridCol w="790112">
                  <a:extLst>
                    <a:ext uri="{9D8B030D-6E8A-4147-A177-3AD203B41FA5}">
                      <a16:colId xmlns:a16="http://schemas.microsoft.com/office/drawing/2014/main" val="3287352556"/>
                    </a:ext>
                  </a:extLst>
                </a:gridCol>
                <a:gridCol w="795598">
                  <a:extLst>
                    <a:ext uri="{9D8B030D-6E8A-4147-A177-3AD203B41FA5}">
                      <a16:colId xmlns:a16="http://schemas.microsoft.com/office/drawing/2014/main" val="314582360"/>
                    </a:ext>
                  </a:extLst>
                </a:gridCol>
                <a:gridCol w="618163">
                  <a:extLst>
                    <a:ext uri="{9D8B030D-6E8A-4147-A177-3AD203B41FA5}">
                      <a16:colId xmlns:a16="http://schemas.microsoft.com/office/drawing/2014/main" val="309060706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969679353"/>
                    </a:ext>
                  </a:extLst>
                </a:gridCol>
                <a:gridCol w="846896">
                  <a:extLst>
                    <a:ext uri="{9D8B030D-6E8A-4147-A177-3AD203B41FA5}">
                      <a16:colId xmlns:a16="http://schemas.microsoft.com/office/drawing/2014/main" val="3705440588"/>
                    </a:ext>
                  </a:extLst>
                </a:gridCol>
                <a:gridCol w="521255">
                  <a:extLst>
                    <a:ext uri="{9D8B030D-6E8A-4147-A177-3AD203B41FA5}">
                      <a16:colId xmlns:a16="http://schemas.microsoft.com/office/drawing/2014/main" val="3073909584"/>
                    </a:ext>
                  </a:extLst>
                </a:gridCol>
              </a:tblGrid>
              <a:tr h="717366"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nn-N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LYAS YATIRIM TAKİP FORMU (EK-1)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304291"/>
                  </a:ext>
                </a:extLst>
              </a:tr>
              <a:tr h="1285844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Numarası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Ad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er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Tutar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nceki Yıllar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 Yılı Ödeneğ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önem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ziki </a:t>
                      </a:r>
                    </a:p>
                    <a:p>
                      <a:pPr algn="ctr" fontAlgn="ctr"/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kdi </a:t>
                      </a:r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Durumu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Fotoğrafı Sisteme Yüklendi mi?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63865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69225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4592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335656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41196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712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46789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674331"/>
                  </a:ext>
                </a:extLst>
              </a:tr>
              <a:tr h="51434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408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5101947"/>
              </p:ext>
            </p:extLst>
          </p:nvPr>
        </p:nvGraphicFramePr>
        <p:xfrm>
          <a:off x="107504" y="1007603"/>
          <a:ext cx="4320480" cy="509743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278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Yeri (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Bedeli (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Harcamaları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4 Yıl İçi Harcama </a:t>
                      </a:r>
                      <a:r>
                        <a:rPr lang="tr-TR" sz="1050" b="1" u="none" strike="noStrike" kern="1200" dirty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2024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</a:t>
                      </a:r>
                      <a:r>
                        <a:rPr lang="tr-TR" sz="1050" b="1" u="none" strike="noStrike" kern="1200" dirty="0">
                          <a:effectLst/>
                        </a:rPr>
                        <a:t>Yılı Ödeneği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67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395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78608">
                <a:tc gridSpan="2">
                  <a:txBody>
                    <a:bodyPr/>
                    <a:lstStyle/>
                    <a:p>
                      <a:pPr algn="just" fontAlgn="b"/>
                      <a:endParaRPr lang="tr-TR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18078"/>
              </p:ext>
            </p:extLst>
          </p:nvPr>
        </p:nvGraphicFramePr>
        <p:xfrm>
          <a:off x="4618484" y="1007601"/>
          <a:ext cx="4320480" cy="509744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60797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20072" y="2073661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022136"/>
              </p:ext>
            </p:extLst>
          </p:nvPr>
        </p:nvGraphicFramePr>
        <p:xfrm>
          <a:off x="107504" y="6165304"/>
          <a:ext cx="883146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9" name="Metin kutusu 18"/>
          <p:cNvSpPr txBox="1"/>
          <p:nvPr/>
        </p:nvSpPr>
        <p:spPr>
          <a:xfrm>
            <a:off x="5220072" y="4140369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19472" y="151385"/>
            <a:ext cx="9144000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30876"/>
              </p:ext>
            </p:extLst>
          </p:nvPr>
        </p:nvGraphicFramePr>
        <p:xfrm>
          <a:off x="107504" y="1052737"/>
          <a:ext cx="9036496" cy="5400867"/>
        </p:xfrm>
        <a:graphic>
          <a:graphicData uri="http://schemas.openxmlformats.org/drawingml/2006/table">
            <a:tbl>
              <a:tblPr/>
              <a:tblGrid>
                <a:gridCol w="9036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e Başlanamama  ve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amamlanamama </a:t>
                      </a: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Çözümlenmesi İstenen Sorun ve Darboğazla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run ve Darboğaz 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ınması İstenen Önlemle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0511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 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6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ektiren Kurum/Kuruluşları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Dikdörtgen 10"/>
          <p:cNvSpPr/>
          <p:nvPr/>
        </p:nvSpPr>
        <p:spPr>
          <a:xfrm>
            <a:off x="323528" y="300271"/>
            <a:ext cx="7932818" cy="38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tr-TR" b="1" kern="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orunlar, İhtiyaçlar ve Koordinasyon Gerektiren Hususlar</a:t>
            </a:r>
          </a:p>
        </p:txBody>
      </p:sp>
      <p:sp>
        <p:nvSpPr>
          <p:cNvPr id="12" name="11 Metin kutusu"/>
          <p:cNvSpPr txBox="1"/>
          <p:nvPr/>
        </p:nvSpPr>
        <p:spPr>
          <a:xfrm>
            <a:off x="662382" y="1340768"/>
            <a:ext cx="392909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t"/>
            <a:r>
              <a:rPr lang="tr-TR" sz="9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OT: İlgili proje  numarası ve adı belirtilmesi gerekmektedir.</a:t>
            </a:r>
          </a:p>
        </p:txBody>
      </p:sp>
      <p:sp>
        <p:nvSpPr>
          <p:cNvPr id="13" name="Metin kutusu 12"/>
          <p:cNvSpPr txBox="1"/>
          <p:nvPr/>
        </p:nvSpPr>
        <p:spPr>
          <a:xfrm>
            <a:off x="8047364" y="314381"/>
            <a:ext cx="75385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4</a:t>
            </a:r>
          </a:p>
        </p:txBody>
      </p:sp>
    </p:spTree>
    <p:extLst>
      <p:ext uri="{BB962C8B-B14F-4D97-AF65-F5344CB8AC3E}">
        <p14:creationId xmlns:p14="http://schemas.microsoft.com/office/powerpoint/2010/main" val="2202122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Sektörler ve Alt Sektörleri</a:t>
            </a: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282298"/>
              </p:ext>
            </p:extLst>
          </p:nvPr>
        </p:nvGraphicFramePr>
        <p:xfrm>
          <a:off x="428596" y="1071546"/>
          <a:ext cx="2214578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57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ütün ve 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idroelektr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17724"/>
              </p:ext>
            </p:extLst>
          </p:nvPr>
        </p:nvGraphicFramePr>
        <p:xfrm>
          <a:off x="3000364" y="1071546"/>
          <a:ext cx="2214578" cy="537512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32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1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Ulaştırma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ent İçi 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302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Eğiti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934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27306"/>
              </p:ext>
            </p:extLst>
          </p:nvPr>
        </p:nvGraphicFramePr>
        <p:xfrm>
          <a:off x="5429256" y="1071546"/>
          <a:ext cx="2815152" cy="538179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154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iğer</a:t>
                      </a:r>
                      <a:r>
                        <a:rPr lang="tr-TR" sz="900" b="1" i="0" u="none" strike="noStrike" baseline="0" dirty="0">
                          <a:solidFill>
                            <a:srgbClr val="FF0000"/>
                          </a:solidFill>
                          <a:latin typeface="+mn-lt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İktisad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Sosyal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73360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5</a:t>
            </a:r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Koordinasyon Kurulu İçin 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53250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Personel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Kurum Görevlisinin</a:t>
                      </a:r>
                      <a:r>
                        <a:rPr lang="tr-TR" sz="10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6</a:t>
            </a:r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3</TotalTime>
  <Words>751</Words>
  <Application>Microsoft Office PowerPoint</Application>
  <PresentationFormat>Ekran Gösterisi (4:3)</PresentationFormat>
  <Paragraphs>326</Paragraphs>
  <Slides>7</Slides>
  <Notes>2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4" baseType="lpstr">
      <vt:lpstr>Arial</vt:lpstr>
      <vt:lpstr>Arial Tur</vt:lpstr>
      <vt:lpstr>Calibri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Ülkü PAŞAOSMANOĞLU</cp:lastModifiedBy>
  <cp:revision>244</cp:revision>
  <cp:lastPrinted>2017-09-05T10:25:42Z</cp:lastPrinted>
  <dcterms:created xsi:type="dcterms:W3CDTF">2013-12-10T10:55:21Z</dcterms:created>
  <dcterms:modified xsi:type="dcterms:W3CDTF">2024-12-02T08:38:47Z</dcterms:modified>
</cp:coreProperties>
</file>